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80" r:id="rId4"/>
  </p:sldMasterIdLst>
  <p:notesMasterIdLst>
    <p:notesMasterId r:id="rId6"/>
  </p:notesMasterIdLst>
  <p:handoutMasterIdLst>
    <p:handoutMasterId r:id="rId7"/>
  </p:handoutMasterIdLst>
  <p:sldIdLst>
    <p:sldId id="356" r:id="rId5"/>
  </p:sldIdLst>
  <p:sldSz cx="9144000" cy="5143500" type="screen16x9"/>
  <p:notesSz cx="6797675" cy="9926638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9">
          <p15:clr>
            <a:srgbClr val="A4A3A4"/>
          </p15:clr>
        </p15:guide>
        <p15:guide id="2" orient="horz" pos="2618">
          <p15:clr>
            <a:srgbClr val="A4A3A4"/>
          </p15:clr>
        </p15:guide>
        <p15:guide id="3" orient="horz" pos="1756">
          <p15:clr>
            <a:srgbClr val="A4A3A4"/>
          </p15:clr>
        </p15:guide>
        <p15:guide id="4" orient="horz" pos="1711">
          <p15:clr>
            <a:srgbClr val="A4A3A4"/>
          </p15:clr>
        </p15:guide>
        <p15:guide id="5" orient="horz" pos="123">
          <p15:clr>
            <a:srgbClr val="A4A3A4"/>
          </p15:clr>
        </p15:guide>
        <p15:guide id="6" orient="horz" pos="3117">
          <p15:clr>
            <a:srgbClr val="A4A3A4"/>
          </p15:clr>
        </p15:guide>
        <p15:guide id="7" orient="horz" pos="3026">
          <p15:clr>
            <a:srgbClr val="A4A3A4"/>
          </p15:clr>
        </p15:guide>
        <p15:guide id="8" orient="horz" pos="2845">
          <p15:clr>
            <a:srgbClr val="A4A3A4"/>
          </p15:clr>
        </p15:guide>
        <p15:guide id="9" pos="249">
          <p15:clr>
            <a:srgbClr val="A4A3A4"/>
          </p15:clr>
        </p15:guide>
        <p15:guide id="10" pos="2857">
          <p15:clr>
            <a:srgbClr val="A4A3A4"/>
          </p15:clr>
        </p15:guide>
        <p15:guide id="11" pos="2903">
          <p15:clr>
            <a:srgbClr val="A4A3A4"/>
          </p15:clr>
        </p15:guide>
        <p15:guide id="12" pos="3787">
          <p15:clr>
            <a:srgbClr val="A4A3A4"/>
          </p15:clr>
        </p15:guide>
        <p15:guide id="13" pos="3742">
          <p15:clr>
            <a:srgbClr val="A4A3A4"/>
          </p15:clr>
        </p15:guide>
        <p15:guide id="14" pos="2018">
          <p15:clr>
            <a:srgbClr val="A4A3A4"/>
          </p15:clr>
        </p15:guide>
        <p15:guide id="15" pos="1973">
          <p15:clr>
            <a:srgbClr val="A4A3A4"/>
          </p15:clr>
        </p15:guide>
        <p15:guide id="16" pos="5511">
          <p15:clr>
            <a:srgbClr val="A4A3A4"/>
          </p15:clr>
        </p15:guide>
        <p15:guide id="17" pos="113">
          <p15:clr>
            <a:srgbClr val="A4A3A4"/>
          </p15:clr>
        </p15:guide>
        <p15:guide id="18" pos="5647">
          <p15:clr>
            <a:srgbClr val="A4A3A4"/>
          </p15:clr>
        </p15:guide>
        <p15:guide id="19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5F5F"/>
    <a:srgbClr val="747474"/>
    <a:srgbClr val="A6A6A6"/>
    <a:srgbClr val="B2B2B2"/>
    <a:srgbClr val="EAEAEA"/>
    <a:srgbClr val="FFFDFD"/>
    <a:srgbClr val="FFFDFE"/>
    <a:srgbClr val="FFFE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57EA00E-A178-4097-BAC5-39D64264B71D}" v="40" dt="2023-05-24T13:41:11.28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97" autoAdjust="0"/>
    <p:restoredTop sz="94660"/>
  </p:normalViewPr>
  <p:slideViewPr>
    <p:cSldViewPr snapToObjects="1" showGuides="1">
      <p:cViewPr varScale="1">
        <p:scale>
          <a:sx n="171" d="100"/>
          <a:sy n="171" d="100"/>
        </p:scale>
        <p:origin x="440" y="168"/>
      </p:cViewPr>
      <p:guideLst>
        <p:guide orient="horz" pos="849"/>
        <p:guide orient="horz" pos="2618"/>
        <p:guide orient="horz" pos="1756"/>
        <p:guide orient="horz" pos="1711"/>
        <p:guide orient="horz" pos="123"/>
        <p:guide orient="horz" pos="3117"/>
        <p:guide orient="horz" pos="3026"/>
        <p:guide orient="horz" pos="2845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Objects="1">
      <p:cViewPr varScale="1">
        <p:scale>
          <a:sx n="43" d="100"/>
          <a:sy n="43" d="100"/>
        </p:scale>
        <p:origin x="307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52BC212-DD74-4D38-A0B3-BE288576AF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2E9C31-43D6-45FE-8776-3E94EFA16B5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8657BA-C4AA-4D53-92C9-E985DB33C4F4}" type="datetimeFigureOut">
              <a:rPr lang="de-DE" smtClean="0"/>
              <a:t>21.05.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7A8BC7D-4DDD-4896-A7AD-D1CB5B23E2D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1E522BC-731B-436E-B1E5-8FE813B7FB6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B9E960-7D08-4EDC-A126-FE0CD4BB7CF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67411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5/21/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emf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6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emf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6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6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(small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93E1B67-5304-41A6-8B2D-924D5C016B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588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93E1B67-5304-41A6-8B2D-924D5C016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7">
            <a:extLst>
              <a:ext uri="{FF2B5EF4-FFF2-40B4-BE49-F238E27FC236}">
                <a16:creationId xmlns:a16="http://schemas.microsoft.com/office/drawing/2014/main" id="{B7A9CE28-F3D2-4A61-84C2-B8DB437F56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0629" y="130629"/>
            <a:ext cx="8899071" cy="2801162"/>
          </a:xfrm>
          <a:prstGeom prst="rect">
            <a:avLst/>
          </a:prstGeom>
        </p:spPr>
      </p:pic>
      <p:grpSp>
        <p:nvGrpSpPr>
          <p:cNvPr id="14" name="FRAME White">
            <a:extLst>
              <a:ext uri="{FF2B5EF4-FFF2-40B4-BE49-F238E27FC236}">
                <a16:creationId xmlns:a16="http://schemas.microsoft.com/office/drawing/2014/main" id="{15DAF63E-3799-4D6A-959B-7DE1A063DBBF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A146DD86-BBB9-4F16-BDE4-93175C4C67B1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7577A2A5-0C0B-4048-A501-27F709D10B73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E2475753-285F-487A-AEEF-6F0E0B816F2F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42B760C1-D34C-47B0-B44E-83FCED00374F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359569" y="3111810"/>
            <a:ext cx="8424863" cy="405000"/>
          </a:xfrm>
        </p:spPr>
        <p:txBody>
          <a:bodyPr vert="horz"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359569" y="3457410"/>
            <a:ext cx="8424863" cy="898595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10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Master-Untertitelformat bearbeiten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4526127"/>
            <a:ext cx="2700000" cy="28687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/>
              <a:t>www.continental-automotive.de</a:t>
            </a:r>
          </a:p>
        </p:txBody>
      </p:sp>
      <p:sp>
        <p:nvSpPr>
          <p:cNvPr id="11" name="Division"/>
          <p:cNvSpPr>
            <a:spLocks noGrp="1"/>
          </p:cNvSpPr>
          <p:nvPr>
            <p:ph type="body" sz="quarter" idx="11" hasCustomPrompt="1"/>
          </p:nvPr>
        </p:nvSpPr>
        <p:spPr>
          <a:xfrm>
            <a:off x="4734431" y="4523875"/>
            <a:ext cx="4050000" cy="286874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 err="1"/>
              <a:t>Standort</a:t>
            </a:r>
            <a:r>
              <a:rPr lang="en-US" noProof="0" dirty="0"/>
              <a:t> Regensburg</a:t>
            </a:r>
          </a:p>
        </p:txBody>
      </p:sp>
      <p:sp>
        <p:nvSpPr>
          <p:cNvPr id="25" name="Logo">
            <a:extLst>
              <a:ext uri="{FF2B5EF4-FFF2-40B4-BE49-F238E27FC236}">
                <a16:creationId xmlns:a16="http://schemas.microsoft.com/office/drawing/2014/main" id="{05907349-0A63-4400-8904-0092523F0C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772" y="0"/>
            <a:ext cx="1847956" cy="935928"/>
          </a:xfrm>
          <a:blipFill>
            <a:blip r:embed="rId6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6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D68D9D-A71B-4491-8644-B948906D9288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AA32346-19F4-4A5E-B45E-B2E589D9D10D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DCFEC8-1D53-47C5-ACF7-F4A3F6140CB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de-DE" noProof="0"/>
              <a:t>Autor © Continental AG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11916-1B0E-4985-9F06-8277EDF39A5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194855929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orient="horz" pos="2455">
          <p15:clr>
            <a:srgbClr val="FBAE40"/>
          </p15:clr>
        </p15:guide>
        <p15:guide id="2" pos="302">
          <p15:clr>
            <a:srgbClr val="FBAE40"/>
          </p15:clr>
        </p15:guide>
        <p15:guide id="3" pos="737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35">
            <a:extLst>
              <a:ext uri="{FF2B5EF4-FFF2-40B4-BE49-F238E27FC236}">
                <a16:creationId xmlns:a16="http://schemas.microsoft.com/office/drawing/2014/main" id="{E49E8D9E-4A7F-4415-BDD1-DC3FF81F73D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50" noProof="0" dirty="0">
              <a:solidFill>
                <a:schemeClr val="bg1"/>
              </a:solidFill>
            </a:endParaRPr>
          </a:p>
        </p:txBody>
      </p:sp>
      <p:grpSp>
        <p:nvGrpSpPr>
          <p:cNvPr id="4" name="FRAME White">
            <a:extLst>
              <a:ext uri="{FF2B5EF4-FFF2-40B4-BE49-F238E27FC236}">
                <a16:creationId xmlns:a16="http://schemas.microsoft.com/office/drawing/2014/main" id="{9404E723-EA2F-4C7E-916C-DCAA674E15B3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20C446C3-A381-44D7-B090-94E5954647BF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3CA6365-A5B1-49A3-A341-DE4796BEF68C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A7EBC55-77B4-4F0D-BBEC-C59409D8A047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59F2B1-71EC-4B8E-A66F-D79E9DA85735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3273910"/>
            <a:ext cx="8531998" cy="70199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D13C6B-34CD-4AC1-993E-8BDBB7884FE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50D36C09-C20D-410B-A4C0-CC032671A1CF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FC0BFC7-788E-4E24-9029-89B78C996E5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de-DE" noProof="0"/>
              <a:t>Autor © Continental AG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D4F40694-05EA-49FC-996D-80AC0FAD3B1A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5904405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E6681138-8BDE-4A59-B317-F143904C074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05991" y="1140620"/>
            <a:ext cx="8532019" cy="1539479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08B235C7-A324-4329-88AD-6A90AC602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99ED5E01-D7A3-4C00-8B85-854DC5E74FF9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 hidden="1">
            <a:extLst>
              <a:ext uri="{FF2B5EF4-FFF2-40B4-BE49-F238E27FC236}">
                <a16:creationId xmlns:a16="http://schemas.microsoft.com/office/drawing/2014/main" id="{86F8EC9E-1AEB-4B13-B233-C5D28F109AD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Plant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>
            <a:extLst>
              <a:ext uri="{FF2B5EF4-FFF2-40B4-BE49-F238E27FC236}">
                <a16:creationId xmlns:a16="http://schemas.microsoft.com/office/drawing/2014/main" id="{0444BCA8-BAAE-45F1-BF20-9C985694BA08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Continental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 hidden="1">
            <a:extLst>
              <a:ext uri="{FF2B5EF4-FFF2-40B4-BE49-F238E27FC236}">
                <a16:creationId xmlns:a16="http://schemas.microsoft.com/office/drawing/2014/main" id="{97373417-F7FA-4C7C-AA99-5CA17883335A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>
            <a:extLst>
              <a:ext uri="{FF2B5EF4-FFF2-40B4-BE49-F238E27FC236}">
                <a16:creationId xmlns:a16="http://schemas.microsoft.com/office/drawing/2014/main" id="{18F89E35-4A03-46B8-BF60-0D6BE509F842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6758724-2774-4003-B210-E8EC4053BE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E1C6F3E-C8A9-4844-A719-0FE4956639A9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B18D2EA-30EC-47FC-A49F-9A4EC99FEC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Autor © Continental AG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1B7DB90-8B7C-489D-8168-F01E066FC3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90629537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2251">
          <p15:clr>
            <a:srgbClr val="FBAE40"/>
          </p15:clr>
        </p15:guide>
        <p15:guide id="4" orient="horz" pos="958">
          <p15:clr>
            <a:srgbClr val="FBAE40"/>
          </p15:clr>
        </p15:guide>
        <p15:guide id="5" orient="horz" pos="383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80F6B8F5-B9AF-44C3-89D8-96E3D5B3B75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05991" y="2814777"/>
            <a:ext cx="8532019" cy="1755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35A8D545-A93C-45AE-904B-B3D2A6DBA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50CB5D9B-214B-42ED-A44B-ED98105C3A9C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 hidden="1">
            <a:extLst>
              <a:ext uri="{FF2B5EF4-FFF2-40B4-BE49-F238E27FC236}">
                <a16:creationId xmlns:a16="http://schemas.microsoft.com/office/drawing/2014/main" id="{F91FA335-A736-4869-A5F5-27416157CD3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Plant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>
            <a:extLst>
              <a:ext uri="{FF2B5EF4-FFF2-40B4-BE49-F238E27FC236}">
                <a16:creationId xmlns:a16="http://schemas.microsoft.com/office/drawing/2014/main" id="{1C3BDA8D-21CF-4C1C-92C8-92B4F9AC1462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Continental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 hidden="1">
            <a:extLst>
              <a:ext uri="{FF2B5EF4-FFF2-40B4-BE49-F238E27FC236}">
                <a16:creationId xmlns:a16="http://schemas.microsoft.com/office/drawing/2014/main" id="{92294B2A-223A-41EB-A4D3-73498DD17D48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>
            <a:extLst>
              <a:ext uri="{FF2B5EF4-FFF2-40B4-BE49-F238E27FC236}">
                <a16:creationId xmlns:a16="http://schemas.microsoft.com/office/drawing/2014/main" id="{2D3E43CD-D260-43D5-985B-A6070AF35D87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C9E9889-D9B8-4464-90AE-1C5694A443C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0CB9BA2-A620-4E2B-88E0-71DAEBB07C7F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9D05C85-19A1-4720-A46F-ADB94A001E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Autor © Continental AG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C34AA7-56F5-4DFB-BB0A-73487C84C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939836795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2364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orient="horz" pos="95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4B7171F9-7DA5-4A30-B943-1B7EB8CD53F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5992" y="1140620"/>
            <a:ext cx="4212431" cy="3429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F174CBBD-5F0D-4FFF-8F95-BF88F43E447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52963" y="1140620"/>
            <a:ext cx="4185048" cy="3429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D0DE6B78-D7ED-430E-8E20-CAE06AA093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F9B4AFCB-DB45-49B7-B777-4CDF88C0ABB9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 hidden="1">
            <a:extLst>
              <a:ext uri="{FF2B5EF4-FFF2-40B4-BE49-F238E27FC236}">
                <a16:creationId xmlns:a16="http://schemas.microsoft.com/office/drawing/2014/main" id="{23D7AA8A-E342-4FD0-BCBD-1470358DADF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Plant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>
            <a:extLst>
              <a:ext uri="{FF2B5EF4-FFF2-40B4-BE49-F238E27FC236}">
                <a16:creationId xmlns:a16="http://schemas.microsoft.com/office/drawing/2014/main" id="{0A8BA5EE-6B72-40E7-8ED5-DC20CE557046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Continental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 hidden="1">
            <a:extLst>
              <a:ext uri="{FF2B5EF4-FFF2-40B4-BE49-F238E27FC236}">
                <a16:creationId xmlns:a16="http://schemas.microsoft.com/office/drawing/2014/main" id="{E348A05D-E816-4522-A298-6D62550566C0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Class-DE">
            <a:extLst>
              <a:ext uri="{FF2B5EF4-FFF2-40B4-BE49-F238E27FC236}">
                <a16:creationId xmlns:a16="http://schemas.microsoft.com/office/drawing/2014/main" id="{38C380F1-7DBC-4B80-AD8A-F20330358945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CCA592D-71D0-4327-ABCD-E620EE710FE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8F22911-88D7-4143-A225-583CC463026B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AAB68FE-1F4D-466F-8B73-E98C083921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Autor © Continental AG</a:t>
            </a:r>
            <a:endParaRPr lang="de-DE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A6B1C62-6525-45D9-8F43-B4254E6802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183630974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pos="7423">
          <p15:clr>
            <a:srgbClr val="FBAE40"/>
          </p15:clr>
        </p15:guide>
        <p15:guide id="3" pos="3795">
          <p15:clr>
            <a:srgbClr val="FBAE40"/>
          </p15:clr>
        </p15:guide>
        <p15:guide id="4" pos="3908">
          <p15:clr>
            <a:srgbClr val="FBAE40"/>
          </p15:clr>
        </p15:guide>
        <p15:guide id="5" orient="horz" pos="3838">
          <p15:clr>
            <a:srgbClr val="FBAE40"/>
          </p15:clr>
        </p15:guide>
        <p15:guide id="6" orient="horz" pos="95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B7CAEDC9-3FCE-450A-8086-C3C7F18E795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03693" y="1140618"/>
            <a:ext cx="2759306" cy="3429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3">
            <a:extLst>
              <a:ext uri="{FF2B5EF4-FFF2-40B4-BE49-F238E27FC236}">
                <a16:creationId xmlns:a16="http://schemas.microsoft.com/office/drawing/2014/main" id="{1FFD298C-9A50-4D7B-938B-36B0E744507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194447" y="1142404"/>
            <a:ext cx="2754000" cy="3429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F1EF5954-3317-44D7-A8B1-CAE9C63D802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84202" y="1140618"/>
            <a:ext cx="2753999" cy="3429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8">
            <a:extLst>
              <a:ext uri="{FF2B5EF4-FFF2-40B4-BE49-F238E27FC236}">
                <a16:creationId xmlns:a16="http://schemas.microsoft.com/office/drawing/2014/main" id="{C525BCE3-0679-47A8-9F40-CCABBDB74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6" name="MIO_LOGOPLACEHOLDER#Logo_16x9" hidden="1">
            <a:extLst>
              <a:ext uri="{FF2B5EF4-FFF2-40B4-BE49-F238E27FC236}">
                <a16:creationId xmlns:a16="http://schemas.microsoft.com/office/drawing/2014/main" id="{8C448D31-1F9D-46B9-8C3D-CE6A70EA0C8E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sp>
        <p:nvSpPr>
          <p:cNvPr id="17" name="Masterfeld-Info-EN" hidden="1">
            <a:extLst>
              <a:ext uri="{FF2B5EF4-FFF2-40B4-BE49-F238E27FC236}">
                <a16:creationId xmlns:a16="http://schemas.microsoft.com/office/drawing/2014/main" id="{63F71440-52CB-414F-B926-8F4ADFC90EE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Plant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Info-DE">
            <a:extLst>
              <a:ext uri="{FF2B5EF4-FFF2-40B4-BE49-F238E27FC236}">
                <a16:creationId xmlns:a16="http://schemas.microsoft.com/office/drawing/2014/main" id="{6568D25D-9208-4FF5-9DDC-D50BD8DCEA24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Continental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Class-EN" hidden="1">
            <a:extLst>
              <a:ext uri="{FF2B5EF4-FFF2-40B4-BE49-F238E27FC236}">
                <a16:creationId xmlns:a16="http://schemas.microsoft.com/office/drawing/2014/main" id="{FD8EC8A8-538F-418B-8779-77DEB0A52A59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Masterfeld-Class-DE">
            <a:extLst>
              <a:ext uri="{FF2B5EF4-FFF2-40B4-BE49-F238E27FC236}">
                <a16:creationId xmlns:a16="http://schemas.microsoft.com/office/drawing/2014/main" id="{A6862E4D-B72F-4CB2-A981-E6F069AAC9CC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EDA6242-2A62-498D-A40B-38E9D6DA479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E86CDD8-A654-4D41-B21C-9C8166E08DD2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5BB03AA-901B-4D1B-962C-C642C71BC2E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/>
              <a:t>Autor © Continental AG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31DC0F9-8FFF-4E46-A52F-5510428137B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150915529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684">
          <p15:clr>
            <a:srgbClr val="FBAE40"/>
          </p15:clr>
        </p15:guide>
        <p15:guide id="2" pos="7423">
          <p15:clr>
            <a:srgbClr val="FBAE40"/>
          </p15:clr>
        </p15:guide>
        <p15:guide id="3" pos="5110">
          <p15:clr>
            <a:srgbClr val="FBAE40"/>
          </p15:clr>
        </p15:guide>
        <p15:guide id="4" pos="4997">
          <p15:clr>
            <a:srgbClr val="FBAE40"/>
          </p15:clr>
        </p15:guide>
        <p15:guide id="5" pos="2570">
          <p15:clr>
            <a:srgbClr val="FBAE40"/>
          </p15:clr>
        </p15:guide>
        <p15:guide id="6" pos="257">
          <p15:clr>
            <a:srgbClr val="FBAE40"/>
          </p15:clr>
        </p15:guide>
        <p15:guide id="7" orient="horz" pos="3838">
          <p15:clr>
            <a:srgbClr val="FBAE40"/>
          </p15:clr>
        </p15:guide>
        <p15:guide id="8" orient="horz" pos="95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3BC0F0D8-9FF5-4203-B448-39BAF7EAAC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05992" y="1140619"/>
            <a:ext cx="4212431" cy="1647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4" name="Inhaltsplatzhalter 3">
            <a:extLst>
              <a:ext uri="{FF2B5EF4-FFF2-40B4-BE49-F238E27FC236}">
                <a16:creationId xmlns:a16="http://schemas.microsoft.com/office/drawing/2014/main" id="{9C105228-F1CC-4FBD-A39D-54C96A5AE7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2963" y="1140619"/>
            <a:ext cx="4185047" cy="1647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842B77-A3FA-4B92-A31A-0DF1B28CB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7D80BD4F-7884-47C7-A491-DDF6970D8D0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05992" y="2924100"/>
            <a:ext cx="4212431" cy="1647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6" name="Inhaltsplatzhalter 3">
            <a:extLst>
              <a:ext uri="{FF2B5EF4-FFF2-40B4-BE49-F238E27FC236}">
                <a16:creationId xmlns:a16="http://schemas.microsoft.com/office/drawing/2014/main" id="{43501644-F383-4B53-B31C-362D1CCDBB0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2963" y="2924100"/>
            <a:ext cx="4185047" cy="1647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MIO_LOGOPLACEHOLDER#Logo_16x9" hidden="1">
            <a:extLst>
              <a:ext uri="{FF2B5EF4-FFF2-40B4-BE49-F238E27FC236}">
                <a16:creationId xmlns:a16="http://schemas.microsoft.com/office/drawing/2014/main" id="{AE83C1C4-2440-4C35-8A90-849EB54D0C99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sp>
        <p:nvSpPr>
          <p:cNvPr id="15" name="Masterfeld-Info-EN" hidden="1">
            <a:extLst>
              <a:ext uri="{FF2B5EF4-FFF2-40B4-BE49-F238E27FC236}">
                <a16:creationId xmlns:a16="http://schemas.microsoft.com/office/drawing/2014/main" id="{A4F32111-9F5F-47D1-8FA5-15FB4F65DC6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Plant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Info-DE">
            <a:extLst>
              <a:ext uri="{FF2B5EF4-FFF2-40B4-BE49-F238E27FC236}">
                <a16:creationId xmlns:a16="http://schemas.microsoft.com/office/drawing/2014/main" id="{A565A0D1-29C1-4751-A3DE-B8D9766B712D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Continental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Class-EN" hidden="1">
            <a:extLst>
              <a:ext uri="{FF2B5EF4-FFF2-40B4-BE49-F238E27FC236}">
                <a16:creationId xmlns:a16="http://schemas.microsoft.com/office/drawing/2014/main" id="{2020EDE3-6EDC-46BA-9114-0499D5A5E09E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Class-DE">
            <a:extLst>
              <a:ext uri="{FF2B5EF4-FFF2-40B4-BE49-F238E27FC236}">
                <a16:creationId xmlns:a16="http://schemas.microsoft.com/office/drawing/2014/main" id="{6E826D26-BB6D-4FDC-BF77-093C80E0D747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43BA914-5104-45EC-B47B-AF6860250B7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D363C548-E978-4E24-A466-692CD28BB605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B45B8B6-642B-4F83-911A-02F584B9722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/>
              <a:t>Autor © Continental AG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DE9945D-4C35-4C6B-907F-8412ED727BA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654258665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57">
          <p15:clr>
            <a:srgbClr val="FBAE40"/>
          </p15:clr>
        </p15:guide>
        <p15:guide id="3" pos="7423">
          <p15:clr>
            <a:srgbClr val="FBAE40"/>
          </p15:clr>
        </p15:guide>
        <p15:guide id="4" pos="3908">
          <p15:clr>
            <a:srgbClr val="FBAE40"/>
          </p15:clr>
        </p15:guide>
        <p15:guide id="5" orient="horz" pos="2341">
          <p15:clr>
            <a:srgbClr val="FBAE40"/>
          </p15:clr>
        </p15:guide>
        <p15:guide id="6" orient="horz" pos="957">
          <p15:clr>
            <a:srgbClr val="FBAE40"/>
          </p15:clr>
        </p15:guide>
        <p15:guide id="7" orient="horz" pos="2455">
          <p15:clr>
            <a:srgbClr val="FBAE40"/>
          </p15:clr>
        </p15:guide>
        <p15:guide id="8" orient="horz" pos="383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oter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538DCDCD-709A-47C3-B872-1E7729B2D967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 hidden="1">
            <a:extLst>
              <a:ext uri="{FF2B5EF4-FFF2-40B4-BE49-F238E27FC236}">
                <a16:creationId xmlns:a16="http://schemas.microsoft.com/office/drawing/2014/main" id="{CE7A2DCD-19B9-4230-BE95-2102E5489DE2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Plant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>
            <a:extLst>
              <a:ext uri="{FF2B5EF4-FFF2-40B4-BE49-F238E27FC236}">
                <a16:creationId xmlns:a16="http://schemas.microsoft.com/office/drawing/2014/main" id="{7EC192F8-B1F4-47DC-A746-001DCD5EE65A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Continental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 hidden="1">
            <a:extLst>
              <a:ext uri="{FF2B5EF4-FFF2-40B4-BE49-F238E27FC236}">
                <a16:creationId xmlns:a16="http://schemas.microsoft.com/office/drawing/2014/main" id="{D2D4DE71-37CA-4C60-A882-0C4191E06E1D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>
            <a:extLst>
              <a:ext uri="{FF2B5EF4-FFF2-40B4-BE49-F238E27FC236}">
                <a16:creationId xmlns:a16="http://schemas.microsoft.com/office/drawing/2014/main" id="{6E8844C0-0B34-4969-933B-8EB54078E3BC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FAD41F3-0F53-498D-8891-916DD8545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ADCCA5-F63E-4322-A464-6BC42384327B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54DE63F-CE96-406B-8AA0-D15BA990C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Autor © Continental AG</a:t>
            </a:r>
            <a:endParaRPr lang="de-DE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D0E597A-3526-48A9-A062-D5CA87A44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680744605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95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oter Only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9">
            <a:extLst>
              <a:ext uri="{FF2B5EF4-FFF2-40B4-BE49-F238E27FC236}">
                <a16:creationId xmlns:a16="http://schemas.microsoft.com/office/drawing/2014/main" id="{F572801F-5369-450D-8FC5-7EC9A0B0204D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19" name="FRAME White">
            <a:extLst>
              <a:ext uri="{FF2B5EF4-FFF2-40B4-BE49-F238E27FC236}">
                <a16:creationId xmlns:a16="http://schemas.microsoft.com/office/drawing/2014/main" id="{B6B72D05-1B3B-43F9-9F79-FE5C1F292472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B906AF43-7ED3-47F7-A2C5-CA61EE2A30D4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FAB89114-49EB-47FB-AECB-74CF755AA900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FB3FE2BA-FABF-40EC-A2D8-14B92090D0ED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6B9CFE73-E58D-465A-9C4E-6D6B5CBC526C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538DCDCD-709A-47C3-B872-1E7729B2D967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cxnSp>
        <p:nvCxnSpPr>
          <p:cNvPr id="11" name="Gerade Verbindung 12">
            <a:extLst>
              <a:ext uri="{FF2B5EF4-FFF2-40B4-BE49-F238E27FC236}">
                <a16:creationId xmlns:a16="http://schemas.microsoft.com/office/drawing/2014/main" id="{2F9BF584-A5D3-4786-989F-D5B795E2A39D}"/>
              </a:ext>
            </a:extLst>
          </p:cNvPr>
          <p:cNvCxnSpPr>
            <a:cxnSpLocks/>
          </p:cNvCxnSpPr>
          <p:nvPr/>
        </p:nvCxnSpPr>
        <p:spPr>
          <a:xfrm>
            <a:off x="305990" y="4727700"/>
            <a:ext cx="85320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LOGO">
            <a:extLst>
              <a:ext uri="{FF2B5EF4-FFF2-40B4-BE49-F238E27FC236}">
                <a16:creationId xmlns:a16="http://schemas.microsoft.com/office/drawing/2014/main" id="{AD784115-DDC7-402B-BE08-5AF99DBFF6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000" y="4752000"/>
            <a:ext cx="791165" cy="243000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Masterfeld-Info-EN" hidden="1">
            <a:extLst>
              <a:ext uri="{FF2B5EF4-FFF2-40B4-BE49-F238E27FC236}">
                <a16:creationId xmlns:a16="http://schemas.microsoft.com/office/drawing/2014/main" id="{CE7A2DCD-19B9-4230-BE95-2102E5489DE2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Plant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>
            <a:extLst>
              <a:ext uri="{FF2B5EF4-FFF2-40B4-BE49-F238E27FC236}">
                <a16:creationId xmlns:a16="http://schemas.microsoft.com/office/drawing/2014/main" id="{7EC192F8-B1F4-47DC-A746-001DCD5EE65A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Continental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 hidden="1">
            <a:extLst>
              <a:ext uri="{FF2B5EF4-FFF2-40B4-BE49-F238E27FC236}">
                <a16:creationId xmlns:a16="http://schemas.microsoft.com/office/drawing/2014/main" id="{D2D4DE71-37CA-4C60-A882-0C4191E06E1D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>
            <a:extLst>
              <a:ext uri="{FF2B5EF4-FFF2-40B4-BE49-F238E27FC236}">
                <a16:creationId xmlns:a16="http://schemas.microsoft.com/office/drawing/2014/main" id="{6E8844C0-0B34-4969-933B-8EB54078E3BC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5FFC57-6077-4AEA-8BDB-9C82DDC3C2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8430C9-076F-4A2B-908E-7F2B4FF7AC41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5B69130-6EA9-4EBA-9D05-9A378F784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Autor © Continental AG</a:t>
            </a:r>
            <a:endParaRPr lang="de-DE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EC34FCF-8B3A-4505-9567-B2E672102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81813561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95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IO_LOGOPLACEHOLDER#Logo_16x9" hidden="1">
            <a:extLst>
              <a:ext uri="{FF2B5EF4-FFF2-40B4-BE49-F238E27FC236}">
                <a16:creationId xmlns:a16="http://schemas.microsoft.com/office/drawing/2014/main" id="{B00BF2E9-B74D-4FDD-95DE-38211AF3D5FF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sp>
        <p:nvSpPr>
          <p:cNvPr id="13" name="Masterfeld-Info-EN" hidden="1">
            <a:extLst>
              <a:ext uri="{FF2B5EF4-FFF2-40B4-BE49-F238E27FC236}">
                <a16:creationId xmlns:a16="http://schemas.microsoft.com/office/drawing/2014/main" id="{6BAB1632-9C6F-4747-8F5E-BBC921261A6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Plant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Masterfeld-Info-DE">
            <a:extLst>
              <a:ext uri="{FF2B5EF4-FFF2-40B4-BE49-F238E27FC236}">
                <a16:creationId xmlns:a16="http://schemas.microsoft.com/office/drawing/2014/main" id="{A39E4CF0-29B6-43FF-86DF-891652331A3F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Continental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Class-EN" hidden="1">
            <a:extLst>
              <a:ext uri="{FF2B5EF4-FFF2-40B4-BE49-F238E27FC236}">
                <a16:creationId xmlns:a16="http://schemas.microsoft.com/office/drawing/2014/main" id="{ADC13DB3-94D1-4BAF-8174-DC397C080821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DE">
            <a:extLst>
              <a:ext uri="{FF2B5EF4-FFF2-40B4-BE49-F238E27FC236}">
                <a16:creationId xmlns:a16="http://schemas.microsoft.com/office/drawing/2014/main" id="{64A8EFFA-7D94-4C22-A264-9815DFCCF529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6CA0499-F19D-406D-B321-383D04CA1D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7F1AEB-BD42-440A-9A51-EC42096D2B0D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A9B86F-88DC-4014-B48D-C9E776E6F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Autor © Continental AG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485D8B5-A468-406C-971C-66C2C9FEB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224219519"/>
      </p:ext>
    </p:extLst>
  </p:cSld>
  <p:clrMapOvr>
    <a:masterClrMapping/>
  </p:clrMapOvr>
  <p:transition>
    <p:fade/>
  </p:transition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9">
            <a:extLst>
              <a:ext uri="{FF2B5EF4-FFF2-40B4-BE49-F238E27FC236}">
                <a16:creationId xmlns:a16="http://schemas.microsoft.com/office/drawing/2014/main" id="{9F660214-6D16-4201-B4A9-CD0E25BF0D3C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MIO_LOGOPLACEHOLDER#Logo_16x9" hidden="1">
            <a:extLst>
              <a:ext uri="{FF2B5EF4-FFF2-40B4-BE49-F238E27FC236}">
                <a16:creationId xmlns:a16="http://schemas.microsoft.com/office/drawing/2014/main" id="{BF5D74A2-C7F1-48E8-B7B4-2B0BF866C16F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grpSp>
        <p:nvGrpSpPr>
          <p:cNvPr id="5" name="FRAME White">
            <a:extLst>
              <a:ext uri="{FF2B5EF4-FFF2-40B4-BE49-F238E27FC236}">
                <a16:creationId xmlns:a16="http://schemas.microsoft.com/office/drawing/2014/main" id="{EBF163EA-301A-40A7-96ED-7AB65D4A6D8E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0DB6E66B-88B6-4E3A-8C09-D612356531B4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3B475A27-0B0F-40BF-B298-C6374E380F36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FD8BB1E8-7EE5-4628-A130-B65351475F74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D31A8960-115E-4470-A3BA-85C70CA5D068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A9946D1-1433-410B-A659-FFBB2ADD370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6AE5A290-AAD3-40FD-98E8-4FC1429DB162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136E60E0-EECE-4435-B4C9-C30E084313F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de-DE" noProof="0"/>
              <a:t>Autor © Continental AG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40D984B-70ED-4F74-920D-79E213FF4910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865255934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9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(small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93E1B67-5304-41A6-8B2D-924D5C016B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2141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93E1B67-5304-41A6-8B2D-924D5C016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fik 6">
            <a:extLst>
              <a:ext uri="{FF2B5EF4-FFF2-40B4-BE49-F238E27FC236}">
                <a16:creationId xmlns:a16="http://schemas.microsoft.com/office/drawing/2014/main" id="{B7FFB7D0-F65D-48E7-94D6-32547E3E41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764" t="4851" r="5845" b="581"/>
          <a:stretch/>
        </p:blipFill>
        <p:spPr>
          <a:xfrm>
            <a:off x="130629" y="141907"/>
            <a:ext cx="8869205" cy="2822134"/>
          </a:xfrm>
          <a:prstGeom prst="rect">
            <a:avLst/>
          </a:prstGeom>
        </p:spPr>
      </p:pic>
      <p:grpSp>
        <p:nvGrpSpPr>
          <p:cNvPr id="14" name="FRAME White">
            <a:extLst>
              <a:ext uri="{FF2B5EF4-FFF2-40B4-BE49-F238E27FC236}">
                <a16:creationId xmlns:a16="http://schemas.microsoft.com/office/drawing/2014/main" id="{15DAF63E-3799-4D6A-959B-7DE1A063DBBF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A146DD86-BBB9-4F16-BDE4-93175C4C67B1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7577A2A5-0C0B-4048-A501-27F709D10B73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E2475753-285F-487A-AEEF-6F0E0B816F2F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42B760C1-D34C-47B0-B44E-83FCED00374F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359569" y="3111810"/>
            <a:ext cx="8424863" cy="405000"/>
          </a:xfrm>
        </p:spPr>
        <p:txBody>
          <a:bodyPr vert="horz"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359569" y="3457410"/>
            <a:ext cx="8424863" cy="898595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10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Master-Untertitelformat bearbeiten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4526127"/>
            <a:ext cx="2700000" cy="28687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/>
              <a:t>www.continental-automotive.de</a:t>
            </a:r>
          </a:p>
        </p:txBody>
      </p:sp>
      <p:sp>
        <p:nvSpPr>
          <p:cNvPr id="11" name="Division"/>
          <p:cNvSpPr>
            <a:spLocks noGrp="1"/>
          </p:cNvSpPr>
          <p:nvPr>
            <p:ph type="body" sz="quarter" idx="11" hasCustomPrompt="1"/>
          </p:nvPr>
        </p:nvSpPr>
        <p:spPr>
          <a:xfrm>
            <a:off x="4734431" y="4523875"/>
            <a:ext cx="4050000" cy="286874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 err="1"/>
              <a:t>Standort</a:t>
            </a:r>
            <a:r>
              <a:rPr lang="en-US" noProof="0" dirty="0"/>
              <a:t> Regensburg</a:t>
            </a:r>
          </a:p>
        </p:txBody>
      </p:sp>
      <p:sp>
        <p:nvSpPr>
          <p:cNvPr id="25" name="Logo">
            <a:extLst>
              <a:ext uri="{FF2B5EF4-FFF2-40B4-BE49-F238E27FC236}">
                <a16:creationId xmlns:a16="http://schemas.microsoft.com/office/drawing/2014/main" id="{05907349-0A63-4400-8904-0092523F0C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772" y="0"/>
            <a:ext cx="1847956" cy="935928"/>
          </a:xfrm>
          <a:blipFill>
            <a:blip r:embed="rId6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6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D68D9D-A71B-4491-8644-B948906D9288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02B78A04-1823-49E6-A08D-8181A26B7987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DCFEC8-1D53-47C5-ACF7-F4A3F6140CB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de-DE" noProof="0"/>
              <a:t>Autor © Continental AG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11916-1B0E-4985-9F06-8277EDF39A5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145679286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orient="horz" pos="2455">
          <p15:clr>
            <a:srgbClr val="FBAE40"/>
          </p15:clr>
        </p15:guide>
        <p15:guide id="2" pos="302">
          <p15:clr>
            <a:srgbClr val="FBAE40"/>
          </p15:clr>
        </p15:guide>
        <p15:guide id="3" pos="737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">
            <a:extLst>
              <a:ext uri="{FF2B5EF4-FFF2-40B4-BE49-F238E27FC236}">
                <a16:creationId xmlns:a16="http://schemas.microsoft.com/office/drawing/2014/main" id="{0D9A1354-DE88-430B-95CE-0A0E34F0900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44067" y="141683"/>
            <a:ext cx="8855870" cy="486013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tIns="262800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grpSp>
        <p:nvGrpSpPr>
          <p:cNvPr id="5" name="FRAME White">
            <a:extLst>
              <a:ext uri="{FF2B5EF4-FFF2-40B4-BE49-F238E27FC236}">
                <a16:creationId xmlns:a16="http://schemas.microsoft.com/office/drawing/2014/main" id="{A1FFDD6D-807F-4511-8617-52E5A1F00217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F44809C7-AB8B-490B-9DE2-68BBAE4927BE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BB339137-B699-4329-AB38-A91F610F3E5E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9F9AFA75-3BC9-4B23-9E63-7668A397268B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07FAB827-C75B-4237-A041-591858E80653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5948588-E55D-4D65-ABDF-CE08CF90CF2A}"/>
              </a:ext>
            </a:extLst>
          </p:cNvPr>
          <p:cNvSpPr>
            <a:spLocks noGrp="1"/>
          </p:cNvSpPr>
          <p:nvPr>
            <p:ph type="dt" sz="half" idx="12"/>
            <p:custDataLst>
              <p:tags r:id="rId1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887FB017-9F6E-4AD7-A9FE-C62AD341E8AB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4F99E46-1DC1-4624-84C8-5F6964FF18A1}"/>
              </a:ext>
            </a:extLst>
          </p:cNvPr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de-DE" noProof="0"/>
              <a:t>Autor © Continental AG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4ACE75A-37F6-4776-A458-F2A0887B9919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3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814633612"/>
      </p:ext>
    </p:extLst>
  </p:cSld>
  <p:clrMapOvr>
    <a:masterClrMapping/>
  </p:clrMapOvr>
  <p:transition>
    <p:fade/>
  </p:transition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9">
            <a:extLst>
              <a:ext uri="{FF2B5EF4-FFF2-40B4-BE49-F238E27FC236}">
                <a16:creationId xmlns:a16="http://schemas.microsoft.com/office/drawing/2014/main" id="{9F660214-6D16-4201-B4A9-CD0E25BF0D3C}"/>
              </a:ext>
            </a:extLst>
          </p:cNvPr>
          <p:cNvSpPr/>
          <p:nvPr/>
        </p:nvSpPr>
        <p:spPr>
          <a:xfrm>
            <a:off x="144066" y="141685"/>
            <a:ext cx="8855869" cy="486013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MIO_LOGOPLACEHOLDER#Logo_16x9" hidden="1">
            <a:extLst>
              <a:ext uri="{FF2B5EF4-FFF2-40B4-BE49-F238E27FC236}">
                <a16:creationId xmlns:a16="http://schemas.microsoft.com/office/drawing/2014/main" id="{77F38C49-D815-4386-B542-AB1FE19DE431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76DFA53-C115-4C27-AAB1-B1BD38BC3B2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9A2B9BC9-3049-4349-8BED-F59CBA1C407F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3B37DD6-747B-42BB-89A7-DEEA243E703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de-DE" noProof="0"/>
              <a:t>Autor © Continental AG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ADFDFC4-6AB9-476C-85C8-5E032E9D3699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901037456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959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216EF78-F960-4DDD-A05D-51C3ED2FA98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23A8A88C-BF37-4880-A258-CDF999A2E9DA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D2BCFF-0EDC-4A2A-B941-89F9DCF5DD58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de-DE" noProof="0"/>
              <a:t>Autor © Continental AG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81BA31-D102-465D-A1EA-1F0EAFD0EE0C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417308717"/>
      </p:ext>
    </p:extLst>
  </p:cSld>
  <p:clrMapOvr>
    <a:masterClrMapping/>
  </p:clrMapOvr>
  <p:transition>
    <p:fade/>
  </p:transition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FRAME White">
            <a:extLst>
              <a:ext uri="{FF2B5EF4-FFF2-40B4-BE49-F238E27FC236}">
                <a16:creationId xmlns:a16="http://schemas.microsoft.com/office/drawing/2014/main" id="{C05DB44F-8E9A-4CAF-A8A8-5B916B999FA8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E81F6422-5F2C-4991-B00D-D4C38706071D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8ED0CD5F-6A41-4C2F-ABD4-8E40D31B6E3E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D8655B72-193C-4735-B876-D5A85FA0A43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7143FF9-D8BB-4C70-8C46-48376B1BA863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6011" y="2257200"/>
            <a:ext cx="8531980" cy="19062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100">
                <a:solidFill>
                  <a:schemeClr val="bg1"/>
                </a:solidFill>
              </a:defRPr>
            </a:lvl1pPr>
            <a:lvl2pPr marL="184145" indent="-184145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37" indent="-177796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28" indent="-179384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269" indent="-177796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06011" y="1580400"/>
            <a:ext cx="8531980" cy="720000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8" name="Masterfeld-Info-EN" hidden="1">
            <a:extLst>
              <a:ext uri="{FF2B5EF4-FFF2-40B4-BE49-F238E27FC236}">
                <a16:creationId xmlns:a16="http://schemas.microsoft.com/office/drawing/2014/main" id="{05851F18-0C9E-4DD0-B776-B4E60644EFE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Plant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Info-DE">
            <a:extLst>
              <a:ext uri="{FF2B5EF4-FFF2-40B4-BE49-F238E27FC236}">
                <a16:creationId xmlns:a16="http://schemas.microsoft.com/office/drawing/2014/main" id="{D9408A6E-02FF-4400-956C-1FF1870921A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Continental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Masterfeld-Class-EN" hidden="1">
            <a:extLst>
              <a:ext uri="{FF2B5EF4-FFF2-40B4-BE49-F238E27FC236}">
                <a16:creationId xmlns:a16="http://schemas.microsoft.com/office/drawing/2014/main" id="{9D157CC6-A0A6-4AB4-AFAD-32EC3D20B9F7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Masterfeld-Class-DE">
            <a:extLst>
              <a:ext uri="{FF2B5EF4-FFF2-40B4-BE49-F238E27FC236}">
                <a16:creationId xmlns:a16="http://schemas.microsoft.com/office/drawing/2014/main" id="{B1CA1B1F-6C24-4D70-B043-F9A04941A4AC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22" name="LOGO">
            <a:extLst>
              <a:ext uri="{FF2B5EF4-FFF2-40B4-BE49-F238E27FC236}">
                <a16:creationId xmlns:a16="http://schemas.microsoft.com/office/drawing/2014/main" id="{3E6F4728-B37E-480B-9900-02FBCCCB791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000" y="4752000"/>
            <a:ext cx="791165" cy="2430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7E0B444-4054-4052-A13B-B11BD7B30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AE5608-E981-4ECB-A080-61E597109639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FCE1938-7EEC-44F3-969E-567467A0B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utor © Continental AG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BA81E4B-02C4-44F7-B1C3-423E7A818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77759243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933">
          <p15:clr>
            <a:srgbClr val="FBAE40"/>
          </p15:clr>
        </p15:guide>
        <p15:guide id="4" orient="horz" pos="3498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5992" y="2257200"/>
            <a:ext cx="8531999" cy="19062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100">
                <a:solidFill>
                  <a:schemeClr val="tx1"/>
                </a:solidFill>
              </a:defRPr>
            </a:lvl1pPr>
            <a:lvl2pPr marL="184145" indent="-184145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37" indent="-177796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28" indent="-179384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269" indent="-177796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05992" y="1580400"/>
            <a:ext cx="8531999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1" name="Masterfeld-Info-EN" hidden="1">
            <a:extLst>
              <a:ext uri="{FF2B5EF4-FFF2-40B4-BE49-F238E27FC236}">
                <a16:creationId xmlns:a16="http://schemas.microsoft.com/office/drawing/2014/main" id="{7D1AE2D1-92EA-4E37-8A5F-F31ED6BED783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Plant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>
            <a:extLst>
              <a:ext uri="{FF2B5EF4-FFF2-40B4-BE49-F238E27FC236}">
                <a16:creationId xmlns:a16="http://schemas.microsoft.com/office/drawing/2014/main" id="{2B836A30-9063-4E81-90C3-717FA2E9D666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Continental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 hidden="1">
            <a:extLst>
              <a:ext uri="{FF2B5EF4-FFF2-40B4-BE49-F238E27FC236}">
                <a16:creationId xmlns:a16="http://schemas.microsoft.com/office/drawing/2014/main" id="{C138A886-25C1-48B9-9C2A-A161924C947B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>
            <a:extLst>
              <a:ext uri="{FF2B5EF4-FFF2-40B4-BE49-F238E27FC236}">
                <a16:creationId xmlns:a16="http://schemas.microsoft.com/office/drawing/2014/main" id="{FA1AEB5C-4AD7-45EB-9C78-BEA5B35C960C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E35D26-FC61-4045-940E-5F22C36766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468572-F56E-485E-A923-10E14F69897A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A51F85F-C28C-489B-B9EA-96BDEC009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utor © Continental AG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F9E5F00-FA59-4081-9CF3-90733688F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2608045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3499">
          <p15:clr>
            <a:srgbClr val="FBAE40"/>
          </p15:clr>
        </p15:guide>
        <p15:guide id="4" orient="horz" pos="193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FRAME White">
            <a:extLst>
              <a:ext uri="{FF2B5EF4-FFF2-40B4-BE49-F238E27FC236}">
                <a16:creationId xmlns:a16="http://schemas.microsoft.com/office/drawing/2014/main" id="{D8907BB1-7EC8-46B6-B9E0-F48BA8DC6A76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C68C66BB-3A46-4180-86AC-2BB0369F3D1B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E5234FAD-2CB4-4FE8-BE96-5E642C5F7CFA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914A24F-19F2-49A3-B8B0-523BA8ABAAFD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A4233672-8FA4-4A80-95BA-40AE88B08365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6011" y="2257200"/>
            <a:ext cx="8531999" cy="19062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100">
                <a:solidFill>
                  <a:schemeClr val="bg1"/>
                </a:solidFill>
              </a:defRPr>
            </a:lvl1pPr>
            <a:lvl2pPr marL="184145" indent="-184145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37" indent="-177796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28" indent="-179384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269" indent="-177796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06011" y="1580400"/>
            <a:ext cx="8531999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cxnSp>
        <p:nvCxnSpPr>
          <p:cNvPr id="24" name="Gerade Verbindung 22">
            <a:extLst>
              <a:ext uri="{FF2B5EF4-FFF2-40B4-BE49-F238E27FC236}">
                <a16:creationId xmlns:a16="http://schemas.microsoft.com/office/drawing/2014/main" id="{8E816380-23F1-4C54-9752-B2207D5DE92E}"/>
              </a:ext>
            </a:extLst>
          </p:cNvPr>
          <p:cNvCxnSpPr>
            <a:cxnSpLocks/>
          </p:cNvCxnSpPr>
          <p:nvPr/>
        </p:nvCxnSpPr>
        <p:spPr>
          <a:xfrm>
            <a:off x="305990" y="4727700"/>
            <a:ext cx="85320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Masterfeld-Info-EN" hidden="1">
            <a:extLst>
              <a:ext uri="{FF2B5EF4-FFF2-40B4-BE49-F238E27FC236}">
                <a16:creationId xmlns:a16="http://schemas.microsoft.com/office/drawing/2014/main" id="{0BC6F472-70FC-455A-BA0A-031497632A2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bg1"/>
                </a:solidFill>
                <a:latin typeface="+mn-lt"/>
              </a:rPr>
              <a:t>Plant Regensburg</a:t>
            </a:r>
            <a:endParaRPr lang="de-DE" sz="6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Masterfeld-Info-DE">
            <a:extLst>
              <a:ext uri="{FF2B5EF4-FFF2-40B4-BE49-F238E27FC236}">
                <a16:creationId xmlns:a16="http://schemas.microsoft.com/office/drawing/2014/main" id="{08D8DE0F-7017-4D43-8BC5-1316FA5C0AA2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bg1"/>
                </a:solidFill>
                <a:latin typeface="+mn-lt"/>
              </a:rPr>
              <a:t>Continental Regensburg</a:t>
            </a:r>
            <a:endParaRPr lang="de-DE" sz="6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Masterfeld-Class-EN" hidden="1">
            <a:extLst>
              <a:ext uri="{FF2B5EF4-FFF2-40B4-BE49-F238E27FC236}">
                <a16:creationId xmlns:a16="http://schemas.microsoft.com/office/drawing/2014/main" id="{EEC07142-17B8-4453-B2BB-77D6CD2405C7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bg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1" name="Masterfeld-Class-DE">
            <a:extLst>
              <a:ext uri="{FF2B5EF4-FFF2-40B4-BE49-F238E27FC236}">
                <a16:creationId xmlns:a16="http://schemas.microsoft.com/office/drawing/2014/main" id="{14AE16D3-B89C-4E97-BF3F-5500CFF99363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bg1"/>
                </a:solidFill>
                <a:latin typeface="+mn-lt"/>
              </a:rPr>
              <a:t>Intern</a:t>
            </a:r>
            <a:endParaRPr lang="de-DE" sz="6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5AAEF45-A137-434D-A4B8-D75B643937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AD8552-F833-43CB-86A5-F4ACFE8356E0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FFC364D-AEFA-4E82-9B96-40B90A5D9E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or © Continental AG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930359B-EF64-4358-BE91-00C2D4398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55885652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933">
          <p15:clr>
            <a:srgbClr val="FBAE40"/>
          </p15:clr>
        </p15:guide>
        <p15:guide id="4" orient="horz" pos="349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(big picture)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FRAME White">
            <a:extLst>
              <a:ext uri="{FF2B5EF4-FFF2-40B4-BE49-F238E27FC236}">
                <a16:creationId xmlns:a16="http://schemas.microsoft.com/office/drawing/2014/main" id="{151D592C-0E5C-4A6E-8B77-3E3202566708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CEE7219B-B491-4349-90B2-CEE0CF754CBE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AF70E331-4FD9-49A2-A1F3-F4F1958BF1FD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0264D60F-9B75-411C-805A-0094C85ABBE3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2924C966-DD41-44EC-96C3-14EA5E8B1DCA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9" name="Bildplatzhalter">
            <a:extLst>
              <a:ext uri="{FF2B5EF4-FFF2-40B4-BE49-F238E27FC236}">
                <a16:creationId xmlns:a16="http://schemas.microsoft.com/office/drawing/2014/main" id="{A4B97A2A-43FB-4C25-9F31-E5E3A50C29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4067" y="141683"/>
            <a:ext cx="8855870" cy="4860134"/>
          </a:xfrm>
          <a:custGeom>
            <a:avLst/>
            <a:gdLst>
              <a:gd name="connsiteX0" fmla="*/ 0 w 11807827"/>
              <a:gd name="connsiteY0" fmla="*/ 0 h 6480178"/>
              <a:gd name="connsiteX1" fmla="*/ 288941 w 11807827"/>
              <a:gd name="connsiteY1" fmla="*/ 0 h 6480178"/>
              <a:gd name="connsiteX2" fmla="*/ 288941 w 11807827"/>
              <a:gd name="connsiteY2" fmla="*/ 1058993 h 6480178"/>
              <a:gd name="connsiteX3" fmla="*/ 2752882 w 11807827"/>
              <a:gd name="connsiteY3" fmla="*/ 1058993 h 6480178"/>
              <a:gd name="connsiteX4" fmla="*/ 2752882 w 11807827"/>
              <a:gd name="connsiteY4" fmla="*/ 0 h 6480178"/>
              <a:gd name="connsiteX5" fmla="*/ 11807827 w 11807827"/>
              <a:gd name="connsiteY5" fmla="*/ 0 h 6480178"/>
              <a:gd name="connsiteX6" fmla="*/ 11807827 w 11807827"/>
              <a:gd name="connsiteY6" fmla="*/ 6480178 h 6480178"/>
              <a:gd name="connsiteX7" fmla="*/ 0 w 11807827"/>
              <a:gd name="connsiteY7" fmla="*/ 6480178 h 648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827" h="6480178">
                <a:moveTo>
                  <a:pt x="0" y="0"/>
                </a:moveTo>
                <a:lnTo>
                  <a:pt x="288941" y="0"/>
                </a:lnTo>
                <a:lnTo>
                  <a:pt x="288941" y="1058993"/>
                </a:lnTo>
                <a:lnTo>
                  <a:pt x="2752882" y="1058993"/>
                </a:lnTo>
                <a:lnTo>
                  <a:pt x="2752882" y="0"/>
                </a:lnTo>
                <a:lnTo>
                  <a:pt x="11807827" y="0"/>
                </a:lnTo>
                <a:lnTo>
                  <a:pt x="11807827" y="6480178"/>
                </a:lnTo>
                <a:lnTo>
                  <a:pt x="0" y="6480178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 tIns="2628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359273" y="3110400"/>
            <a:ext cx="8425159" cy="40641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360773" y="3457410"/>
            <a:ext cx="8423121" cy="842532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1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Master-Untertitelformat bearbeiten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360773" y="4523875"/>
            <a:ext cx="2698342" cy="289124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in"/>
          <p:cNvSpPr>
            <a:spLocks noGrp="1"/>
          </p:cNvSpPr>
          <p:nvPr>
            <p:ph type="body" sz="quarter" idx="11" hasCustomPrompt="1"/>
          </p:nvPr>
        </p:nvSpPr>
        <p:spPr>
          <a:xfrm>
            <a:off x="4734432" y="4523875"/>
            <a:ext cx="4050000" cy="289124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20" name="Logo">
            <a:extLst>
              <a:ext uri="{FF2B5EF4-FFF2-40B4-BE49-F238E27FC236}">
                <a16:creationId xmlns:a16="http://schemas.microsoft.com/office/drawing/2014/main" id="{D9D5C7E9-EB80-4167-82F4-B577553CDF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772" y="0"/>
            <a:ext cx="1847956" cy="935928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6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54A713B-EAFD-4F77-90C2-3995E569BD6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52936E11-FC0A-4124-B7D6-C943742E7181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BE6876-3879-4117-8C56-8BE3DC75BAA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de-DE" noProof="0"/>
              <a:t>Autor © Continental AG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12093F9-0D54-4B44-914A-4187B3C5AD4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103482323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378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FRAME White">
            <a:extLst>
              <a:ext uri="{FF2B5EF4-FFF2-40B4-BE49-F238E27FC236}">
                <a16:creationId xmlns:a16="http://schemas.microsoft.com/office/drawing/2014/main" id="{42DBBF48-C57F-4D08-8F91-3CE39764F6AE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E3CC3DC7-20F3-47E8-B5E3-07A8CCEB2A69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2C4C470D-22C4-4962-9C8B-E9338ECC73FF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4EC79E2C-EE82-4583-BE3F-D991FC4ECCAF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4DDEE6D0-332E-4218-822A-DCEBEEC9D24B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359273" y="2427585"/>
            <a:ext cx="8424000" cy="405001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359273" y="2773186"/>
            <a:ext cx="8424000" cy="900845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10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Master-Untertitelformat bearbeiten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359273" y="4523875"/>
            <a:ext cx="2700000" cy="289124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n"/>
          <p:cNvSpPr>
            <a:spLocks noGrp="1"/>
          </p:cNvSpPr>
          <p:nvPr>
            <p:ph type="body" sz="quarter" idx="11" hasCustomPrompt="1"/>
          </p:nvPr>
        </p:nvSpPr>
        <p:spPr>
          <a:xfrm>
            <a:off x="4734432" y="4523875"/>
            <a:ext cx="4049462" cy="289124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12" name="Logo">
            <a:extLst>
              <a:ext uri="{FF2B5EF4-FFF2-40B4-BE49-F238E27FC236}">
                <a16:creationId xmlns:a16="http://schemas.microsoft.com/office/drawing/2014/main" id="{3C45320A-E2BA-4297-B66E-E5C7FA6E78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772" y="0"/>
            <a:ext cx="1847956" cy="935928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6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3C9D60D-44C9-404B-93EA-CEC194B41EC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01A58DAD-B352-42FA-A5D0-3118E55E3B59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D7C770-1069-4A7C-98B9-BDBADCCAC39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de-DE" noProof="0"/>
              <a:t>Autor © Continental AG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E7DA81-EAC7-4105-BC74-1FBC72D0156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897437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378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FRAME White">
            <a:extLst>
              <a:ext uri="{FF2B5EF4-FFF2-40B4-BE49-F238E27FC236}">
                <a16:creationId xmlns:a16="http://schemas.microsoft.com/office/drawing/2014/main" id="{C1F5C252-095C-414D-9D37-061542CCFFC5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993D444-7D1D-4CCB-B280-7F5A501F6C3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D7C4A005-12F6-4802-A703-1B1E6F3F605F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5EF202C7-F2B9-443B-ABBD-DB6B139E5115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DE6D648D-0C7C-45BD-9D29-E24E7DFA9A5D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E50BA2E4-AA81-4E1F-A271-8D38B04809F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itel 7">
            <a:extLst>
              <a:ext uri="{FF2B5EF4-FFF2-40B4-BE49-F238E27FC236}">
                <a16:creationId xmlns:a16="http://schemas.microsoft.com/office/drawing/2014/main" id="{ABA3C9F2-E253-421F-945D-D68861922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3" name="MIO_LOGOPLACEHOLDER#Logo_16x9" hidden="1">
            <a:extLst>
              <a:ext uri="{FF2B5EF4-FFF2-40B4-BE49-F238E27FC236}">
                <a16:creationId xmlns:a16="http://schemas.microsoft.com/office/drawing/2014/main" id="{36AB968B-E423-45A9-BCC2-8AD32505936A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pic>
        <p:nvPicPr>
          <p:cNvPr id="19" name="LOGO">
            <a:extLst>
              <a:ext uri="{FF2B5EF4-FFF2-40B4-BE49-F238E27FC236}">
                <a16:creationId xmlns:a16="http://schemas.microsoft.com/office/drawing/2014/main" id="{1C09B27F-8BF5-4652-B0A7-68636C1D47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000" y="4752000"/>
            <a:ext cx="791165" cy="24300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Masterfeld-Info-EN" hidden="1">
            <a:extLst>
              <a:ext uri="{FF2B5EF4-FFF2-40B4-BE49-F238E27FC236}">
                <a16:creationId xmlns:a16="http://schemas.microsoft.com/office/drawing/2014/main" id="{71443D15-BEDB-40DE-94E4-DAC71EB6616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Plant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Masterfeld-Info-DE">
            <a:extLst>
              <a:ext uri="{FF2B5EF4-FFF2-40B4-BE49-F238E27FC236}">
                <a16:creationId xmlns:a16="http://schemas.microsoft.com/office/drawing/2014/main" id="{8C6396D6-849A-4ABC-8DBD-C38E1845BAA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Continental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4" name="Masterfeld-Class-EN" hidden="1">
            <a:extLst>
              <a:ext uri="{FF2B5EF4-FFF2-40B4-BE49-F238E27FC236}">
                <a16:creationId xmlns:a16="http://schemas.microsoft.com/office/drawing/2014/main" id="{21B62723-1E18-4553-90EC-FFCFA4728AE5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1" name="Masterfeld-Class-DE">
            <a:extLst>
              <a:ext uri="{FF2B5EF4-FFF2-40B4-BE49-F238E27FC236}">
                <a16:creationId xmlns:a16="http://schemas.microsoft.com/office/drawing/2014/main" id="{3CC02D7B-F6BC-4A33-921C-E8D701D211CA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8242E24-BED6-488F-89AD-B05C9CBDF5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8134618-C926-4543-8202-52C33A0CA183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9A66109-FA20-48C9-8114-DD7A725FE27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Autor © Continental AG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5069DFF-5F42-4A6C-9AE0-FCC1F266219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852461605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95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089BDB9-B70F-4B87-A3C1-AFE761FA68B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504B9673-B248-485B-A90A-7C5253EC8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32F9D74A-FBE0-425D-9642-995123835A75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 hidden="1">
            <a:extLst>
              <a:ext uri="{FF2B5EF4-FFF2-40B4-BE49-F238E27FC236}">
                <a16:creationId xmlns:a16="http://schemas.microsoft.com/office/drawing/2014/main" id="{E788FAB4-76CB-4C6D-B621-6A743E02A41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Plant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>
            <a:extLst>
              <a:ext uri="{FF2B5EF4-FFF2-40B4-BE49-F238E27FC236}">
                <a16:creationId xmlns:a16="http://schemas.microsoft.com/office/drawing/2014/main" id="{F7E1ACF2-8A1B-4DB6-BE92-3D6012F45AAD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Continental Regensburg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 hidden="1">
            <a:extLst>
              <a:ext uri="{FF2B5EF4-FFF2-40B4-BE49-F238E27FC236}">
                <a16:creationId xmlns:a16="http://schemas.microsoft.com/office/drawing/2014/main" id="{D947D2E2-B9BD-4867-96BB-0E2A9A807420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>
            <a:extLst>
              <a:ext uri="{FF2B5EF4-FFF2-40B4-BE49-F238E27FC236}">
                <a16:creationId xmlns:a16="http://schemas.microsoft.com/office/drawing/2014/main" id="{C339FBF6-C82F-48A2-A44B-1587C009EB0D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ACC22E2-F21B-4290-B56B-022F9C2C4E7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19CEA1C-6110-45AB-98F8-13006AE030FE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898C5E-943F-4EF0-A433-E752FF2A5DA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Autor © Continental AG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5EB725-AAD5-4A3E-84A9-A9B8DA2644A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621922176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957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FRAME White">
            <a:extLst>
              <a:ext uri="{FF2B5EF4-FFF2-40B4-BE49-F238E27FC236}">
                <a16:creationId xmlns:a16="http://schemas.microsoft.com/office/drawing/2014/main" id="{DF0D21E1-EB11-4E6F-962A-B0C73D3C627E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BC80263E-68F3-4EDE-8FEB-3AE95A63F8E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83301B39-53C0-491B-A5BC-6A8BDE270A00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23603E53-C4F3-40F7-98A1-E3F82F641E16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2B921106-DB01-4D8D-A080-83711569C4F4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4" name="Gerade Verbindung 21">
            <a:extLst>
              <a:ext uri="{FF2B5EF4-FFF2-40B4-BE49-F238E27FC236}">
                <a16:creationId xmlns:a16="http://schemas.microsoft.com/office/drawing/2014/main" id="{120426E5-1979-46F0-BD1F-FD44148F322E}"/>
              </a:ext>
            </a:extLst>
          </p:cNvPr>
          <p:cNvCxnSpPr>
            <a:cxnSpLocks/>
          </p:cNvCxnSpPr>
          <p:nvPr/>
        </p:nvCxnSpPr>
        <p:spPr>
          <a:xfrm>
            <a:off x="305990" y="4727700"/>
            <a:ext cx="85320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el 3">
            <a:extLst>
              <a:ext uri="{FF2B5EF4-FFF2-40B4-BE49-F238E27FC236}">
                <a16:creationId xmlns:a16="http://schemas.microsoft.com/office/drawing/2014/main" id="{BCD1A06E-AAB2-4C3E-A402-65E534D6F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55251EB-B21B-4850-B76F-AAD6E6E60C0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MIO_LOGOPLACEHOLDER#Logo_16x9" hidden="1">
            <a:extLst>
              <a:ext uri="{FF2B5EF4-FFF2-40B4-BE49-F238E27FC236}">
                <a16:creationId xmlns:a16="http://schemas.microsoft.com/office/drawing/2014/main" id="{B5313518-8381-4EBE-B966-3FB299AE8895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sp>
        <p:nvSpPr>
          <p:cNvPr id="18" name="Masterfeld-Info-EN" hidden="1">
            <a:extLst>
              <a:ext uri="{FF2B5EF4-FFF2-40B4-BE49-F238E27FC236}">
                <a16:creationId xmlns:a16="http://schemas.microsoft.com/office/drawing/2014/main" id="{9B678141-DCD3-441A-A4B8-97BA49CB00D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bg1"/>
                </a:solidFill>
                <a:latin typeface="+mn-lt"/>
              </a:rPr>
              <a:t>Plant Regensburg</a:t>
            </a:r>
            <a:endParaRPr lang="de-DE" sz="6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Masterfeld-Info-DE">
            <a:extLst>
              <a:ext uri="{FF2B5EF4-FFF2-40B4-BE49-F238E27FC236}">
                <a16:creationId xmlns:a16="http://schemas.microsoft.com/office/drawing/2014/main" id="{F20B2B3D-1480-4E51-9E7D-83FE04DAC37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bg1"/>
                </a:solidFill>
                <a:latin typeface="+mn-lt"/>
              </a:rPr>
              <a:t>Continental Regensburg</a:t>
            </a:r>
            <a:endParaRPr lang="de-DE" sz="6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Masterfeld-Class-EN" hidden="1">
            <a:extLst>
              <a:ext uri="{FF2B5EF4-FFF2-40B4-BE49-F238E27FC236}">
                <a16:creationId xmlns:a16="http://schemas.microsoft.com/office/drawing/2014/main" id="{85A829C0-D5AF-4F8E-8D53-81488C60B85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bg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Masterfeld-Class-DE">
            <a:extLst>
              <a:ext uri="{FF2B5EF4-FFF2-40B4-BE49-F238E27FC236}">
                <a16:creationId xmlns:a16="http://schemas.microsoft.com/office/drawing/2014/main" id="{A1E7FC13-9662-4FA1-B109-B7035A00C1F2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bg1"/>
                </a:solidFill>
                <a:latin typeface="+mn-lt"/>
              </a:rPr>
              <a:t>Intern</a:t>
            </a:r>
            <a:endParaRPr lang="de-DE" sz="6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E9A42A0-1A19-435A-8B47-386CD8F86E6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28773C4-1712-4EFD-82D2-36BFEE7B3021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F8F3E12-F1E2-43C8-A3EB-23A8F53F44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Autor © Continental AG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D80B8F5-B54A-4617-A5A1-FD174C20F1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96084350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959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35">
            <a:extLst>
              <a:ext uri="{FF2B5EF4-FFF2-40B4-BE49-F238E27FC236}">
                <a16:creationId xmlns:a16="http://schemas.microsoft.com/office/drawing/2014/main" id="{E49E8D9E-4A7F-4415-BDD1-DC3FF81F73D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50" noProof="0" dirty="0">
              <a:solidFill>
                <a:schemeClr val="bg1"/>
              </a:solidFill>
            </a:endParaRPr>
          </a:p>
        </p:txBody>
      </p:sp>
      <p:grpSp>
        <p:nvGrpSpPr>
          <p:cNvPr id="4" name="FRAME White">
            <a:extLst>
              <a:ext uri="{FF2B5EF4-FFF2-40B4-BE49-F238E27FC236}">
                <a16:creationId xmlns:a16="http://schemas.microsoft.com/office/drawing/2014/main" id="{13EC784F-26C5-43EB-88BD-9BB8E2FA7B3F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618F376B-4B06-4196-94C7-4A2666BC7EC9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24C2CE10-0B1C-48C8-A880-CC13F7D83597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DE8FA04C-C292-45BC-ADD3-95542A582B9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6EFF035-90EF-4A7B-BD8C-8A6C7547D522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3273910"/>
            <a:ext cx="8531998" cy="7019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7540C32-2016-4E0F-8E09-D53276BC9234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9E105299-21DE-43BD-B2DD-450E4BFA1783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308E8A81-A027-4543-8523-E752F8D1E1C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de-DE" noProof="0"/>
              <a:t>Autor © Continental AG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148C2BC-0258-48E0-B33A-97320DC4431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696240160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pos="742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">
            <a:extLst>
              <a:ext uri="{FF2B5EF4-FFF2-40B4-BE49-F238E27FC236}">
                <a16:creationId xmlns:a16="http://schemas.microsoft.com/office/drawing/2014/main" id="{405DA933-B4D4-4C2F-BF5A-F679206B99F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44067" y="141683"/>
            <a:ext cx="8855870" cy="486013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tIns="262800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grpSp>
        <p:nvGrpSpPr>
          <p:cNvPr id="5" name="FRAME White">
            <a:extLst>
              <a:ext uri="{FF2B5EF4-FFF2-40B4-BE49-F238E27FC236}">
                <a16:creationId xmlns:a16="http://schemas.microsoft.com/office/drawing/2014/main" id="{EB6BE78A-65F4-415D-80E8-D05EA234AB17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E81FCD45-1C18-444D-A1E1-979102ABCBD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D0EE00A-0F4D-451D-AA50-789E3EDAED97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FFE5B38-D327-46AA-8EB6-F08E811A53B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8A06B683-E53C-45AB-AFE0-55FD69B94387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3273910"/>
            <a:ext cx="8531998" cy="70199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5247F53-C36C-4439-BD54-7FAC3E3BB7D5}"/>
              </a:ext>
            </a:extLst>
          </p:cNvPr>
          <p:cNvSpPr>
            <a:spLocks noGrp="1"/>
          </p:cNvSpPr>
          <p:nvPr>
            <p:ph type="dt" sz="half" idx="12"/>
            <p:custDataLst>
              <p:tags r:id="rId1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2483D92F-436F-4267-8243-068AA86DC714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BB8E5DE8-E814-41EF-A4BE-37B85B9C8C73}"/>
              </a:ext>
            </a:extLst>
          </p:cNvPr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de-DE" noProof="0"/>
              <a:t>Autor © Continental AG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1926CA4-6EC6-4823-B3AE-5C73E3D31217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3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891495283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pos="742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6586788-3E00-4303-BC1A-85F976662A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355814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0" imgW="416" imgH="416" progId="TCLayout.ActiveDocument.1">
                  <p:embed/>
                </p:oleObj>
              </mc:Choice>
              <mc:Fallback>
                <p:oleObj name="think-cell Folie" r:id="rId30" imgW="416" imgH="41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6586788-3E00-4303-BC1A-85F976662A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05991" y="284623"/>
            <a:ext cx="8531998" cy="70199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05991" y="1140593"/>
            <a:ext cx="8531998" cy="3429000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7273800" y="4816800"/>
            <a:ext cx="729000" cy="11283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fld id="{B3DDC44A-EF8C-46EC-A4BA-A3C0CAE28D3E}" type="datetime4">
              <a:rPr lang="de-DE" smtClean="0"/>
              <a:pPr/>
              <a:t>21. Mai 2024</a:t>
            </a:fld>
            <a:endParaRPr lang="de-DE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460433" y="4816800"/>
            <a:ext cx="377558" cy="11283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6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" name="empower - DO NOT DELETE!!!"/>
          <p:cNvSpPr/>
          <p:nvPr>
            <p:custDataLst>
              <p:tags r:id="rId2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empower - DO NOT DELETE!!!" hidden="1"/>
          <p:cNvSpPr/>
          <p:nvPr>
            <p:custDataLst>
              <p:tags r:id="rId29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254704-E119-42D2-B731-CE591F07E0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27000" y="4816800"/>
            <a:ext cx="1890000" cy="11283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Autor © Continental AG</a:t>
            </a:r>
            <a:endParaRPr lang="de-DE" noProof="0" dirty="0"/>
          </a:p>
        </p:txBody>
      </p:sp>
      <p:cxnSp>
        <p:nvCxnSpPr>
          <p:cNvPr id="11" name="Black Line">
            <a:extLst>
              <a:ext uri="{FF2B5EF4-FFF2-40B4-BE49-F238E27FC236}">
                <a16:creationId xmlns:a16="http://schemas.microsoft.com/office/drawing/2014/main" id="{E9378969-696F-42B5-9445-64508D338C85}"/>
              </a:ext>
            </a:extLst>
          </p:cNvPr>
          <p:cNvCxnSpPr>
            <a:cxnSpLocks/>
          </p:cNvCxnSpPr>
          <p:nvPr/>
        </p:nvCxnSpPr>
        <p:spPr>
          <a:xfrm>
            <a:off x="305990" y="4727700"/>
            <a:ext cx="85320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LOGO">
            <a:extLst>
              <a:ext uri="{FF2B5EF4-FFF2-40B4-BE49-F238E27FC236}">
                <a16:creationId xmlns:a16="http://schemas.microsoft.com/office/drawing/2014/main" id="{3DBA5B3A-85CC-4C61-82AD-A382AD3B0038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43442" y="4752000"/>
            <a:ext cx="791165" cy="2430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B704EC6-0F1C-DA3F-DF49-BC88127C2D9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4401312" y="4958080"/>
            <a:ext cx="369888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798230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705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  <p:sldLayoutId id="2147483701" r:id="rId22"/>
    <p:sldLayoutId id="2147483702" r:id="rId23"/>
    <p:sldLayoutId id="2147483703" r:id="rId24"/>
    <p:sldLayoutId id="2147483704" r:id="rId25"/>
  </p:sldLayoutIdLst>
  <p:transition>
    <p:fade/>
  </p:transition>
  <p:hf hdr="0"/>
  <p:txStyles>
    <p:titleStyle>
      <a:lvl1pPr algn="l" defTabSz="914378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35731" indent="-135731" algn="l" defTabSz="914378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SzPct val="125000"/>
        <a:buFont typeface="Arial" pitchFamily="34" charset="0"/>
        <a:buChar char="›"/>
        <a:defRPr sz="135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70000" indent="-135731" algn="l" defTabSz="914378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SzPct val="125000"/>
        <a:buFont typeface="Arial" pitchFamily="34" charset="0"/>
        <a:buChar char="›"/>
        <a:defRPr sz="135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405000" indent="-135000" algn="l" defTabSz="914378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SzPct val="125000"/>
        <a:buFont typeface="Arial" pitchFamily="34" charset="0"/>
        <a:buChar char="›"/>
        <a:defRPr sz="135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40000" indent="-135731" algn="l" defTabSz="914378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SzPct val="125000"/>
        <a:buFont typeface="Arial" pitchFamily="34" charset="0"/>
        <a:buChar char="›"/>
        <a:defRPr sz="135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673894" indent="-135731" algn="l" defTabSz="914378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SzPct val="125000"/>
        <a:buFont typeface="Arial" pitchFamily="34" charset="0"/>
        <a:buChar char="›"/>
        <a:defRPr sz="135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675000" indent="-135000" algn="l" defTabSz="914378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675000" indent="-135000" algn="l" defTabSz="914378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675000" indent="-135000" algn="l" defTabSz="914378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675000" indent="-135000" algn="l" defTabSz="914378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9">
          <p15:clr>
            <a:srgbClr val="F26B43"/>
          </p15:clr>
        </p15:guide>
        <p15:guide id="2" pos="121">
          <p15:clr>
            <a:srgbClr val="F26B43"/>
          </p15:clr>
        </p15:guide>
        <p15:guide id="3" pos="7559">
          <p15:clr>
            <a:srgbClr val="F26B43"/>
          </p15:clr>
        </p15:guide>
        <p15:guide id="4" orient="horz" pos="420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Kleidung, Im Haus, Person, Dienstleistung enthält.&#10;&#10;Automatisch generierte Beschreibung">
            <a:extLst>
              <a:ext uri="{FF2B5EF4-FFF2-40B4-BE49-F238E27FC236}">
                <a16:creationId xmlns:a16="http://schemas.microsoft.com/office/drawing/2014/main" id="{B5DCD276-B6C2-3BE9-BEDC-0C8708F5274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105" r="1" b="8109"/>
          <a:stretch/>
        </p:blipFill>
        <p:spPr>
          <a:xfrm>
            <a:off x="144067" y="141683"/>
            <a:ext cx="8855870" cy="4860134"/>
          </a:xfrm>
          <a:prstGeom prst="rect">
            <a:avLst/>
          </a:prstGeom>
          <a:noFill/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ECBE4CFB-3944-D57F-0058-35BAAF3102E8}"/>
              </a:ext>
            </a:extLst>
          </p:cNvPr>
          <p:cNvSpPr/>
          <p:nvPr/>
        </p:nvSpPr>
        <p:spPr>
          <a:xfrm>
            <a:off x="5580111" y="141682"/>
            <a:ext cx="3419821" cy="4860133"/>
          </a:xfrm>
          <a:prstGeom prst="rect">
            <a:avLst/>
          </a:prstGeom>
          <a:solidFill>
            <a:schemeClr val="bg1">
              <a:alpha val="90495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b="0" i="0" u="none" baseline="0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</a:t>
            </a:r>
            <a:r>
              <a:rPr lang="de-DE" b="0" i="0" u="none" baseline="0" dirty="0" err="1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ackaburg</a:t>
            </a:r>
            <a:r>
              <a:rPr lang="de-DE" b="0" i="0" u="none" baseline="0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Challenge</a:t>
            </a: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b="0" i="0" u="none" baseline="0" dirty="0">
              <a:solidFill>
                <a:srgbClr val="181818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b="0" i="0" u="none" baseline="0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Task:</a:t>
            </a: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b="0" i="0" u="none" baseline="0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 </a:t>
            </a:r>
            <a:r>
              <a:rPr lang="de-DE" b="0" i="0" u="none" baseline="0" dirty="0" err="1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Develop</a:t>
            </a:r>
            <a:r>
              <a:rPr lang="de-DE" b="0" i="0" u="none" baseline="0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an AI/LLM </a:t>
            </a:r>
            <a:r>
              <a:rPr lang="de-DE" b="0" i="0" u="none" baseline="0" dirty="0" err="1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olution</a:t>
            </a:r>
            <a:r>
              <a:rPr lang="de-DE" b="0" i="0" u="none" baseline="0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b="0" i="0" u="none" baseline="0" dirty="0" err="1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hat</a:t>
            </a:r>
            <a:r>
              <a:rPr lang="de-DE" b="0" i="0" u="none" baseline="0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b="0" i="0" u="none" baseline="0" dirty="0" err="1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terprets</a:t>
            </a:r>
            <a:r>
              <a:rPr lang="de-DE" b="0" i="0" u="none" baseline="0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and </a:t>
            </a:r>
            <a:r>
              <a:rPr lang="de-DE" b="0" i="0" u="none" baseline="0" dirty="0" err="1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explains</a:t>
            </a:r>
            <a:r>
              <a:rPr lang="de-DE" b="0" i="0" u="none" baseline="0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b="0" i="0" u="none" baseline="0" dirty="0" err="1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error</a:t>
            </a:r>
            <a:r>
              <a:rPr lang="de-DE" b="0" i="0" u="none" baseline="0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b="0" i="0" u="none" baseline="0" dirty="0" err="1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des</a:t>
            </a:r>
            <a:r>
              <a:rPr lang="de-DE" b="0" i="0" u="none" baseline="0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b="0" i="0" u="none" baseline="0" dirty="0" err="1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rom</a:t>
            </a:r>
            <a:r>
              <a:rPr lang="de-DE" b="0" i="0" u="none" baseline="0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b="0" i="0" u="none" baseline="0" dirty="0" err="1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our</a:t>
            </a:r>
            <a:r>
              <a:rPr lang="de-DE" b="0" i="0" u="none" baseline="0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b="0" i="0" u="none" baseline="0" dirty="0" err="1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utomated</a:t>
            </a:r>
            <a:r>
              <a:rPr lang="de-DE" b="0" i="0" u="none" baseline="0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b="0" i="0" u="none" baseline="0" dirty="0" err="1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guided</a:t>
            </a:r>
            <a:r>
              <a:rPr lang="de-DE" b="0" i="0" u="none" baseline="0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b="0" i="0" u="none" baseline="0" dirty="0" err="1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ehicles</a:t>
            </a:r>
            <a:r>
              <a:rPr lang="de-DE" b="0" i="0" u="none" baseline="0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(AGVs)</a:t>
            </a: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b="0" i="0" u="none" baseline="0" dirty="0">
              <a:solidFill>
                <a:srgbClr val="181818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b="0" i="0" u="none" baseline="0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Resources:</a:t>
            </a: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 </a:t>
            </a:r>
            <a:r>
              <a:rPr lang="de-DE" b="0" i="0" u="none" baseline="0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al-</a:t>
            </a:r>
            <a:r>
              <a:rPr lang="de-DE" b="0" i="0" u="none" baseline="0" dirty="0" err="1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world</a:t>
            </a:r>
            <a:r>
              <a:rPr lang="de-DE" b="0" i="0" u="none" baseline="0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AGV </a:t>
            </a:r>
            <a:r>
              <a:rPr lang="de-DE" b="0" i="0" u="none" baseline="0" dirty="0" err="1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data</a:t>
            </a:r>
            <a:endParaRPr lang="de-DE" b="0" i="0" u="none" baseline="0" dirty="0">
              <a:solidFill>
                <a:srgbClr val="181818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 </a:t>
            </a:r>
            <a:r>
              <a:rPr lang="de-DE" b="0" i="0" u="none" baseline="0" dirty="0" err="1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mprehensive</a:t>
            </a:r>
            <a:r>
              <a:rPr lang="de-DE" b="0" i="0" u="none" baseline="0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b="0" i="0" u="none" baseline="0" dirty="0" err="1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user</a:t>
            </a:r>
            <a:r>
              <a:rPr lang="de-DE" b="0" i="0" u="none" baseline="0" dirty="0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b="0" i="0" u="none" baseline="0" dirty="0" err="1">
                <a:solidFill>
                  <a:srgbClr val="181818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nual</a:t>
            </a:r>
            <a:endParaRPr lang="de-DE" b="0" i="0" u="none" baseline="0" dirty="0">
              <a:solidFill>
                <a:srgbClr val="181818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b="0" i="0" u="none" baseline="0" dirty="0">
              <a:solidFill>
                <a:srgbClr val="181818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9" name="Grafik 8" descr="Ein Bild, das Schrift, Grafiken, Logo, Grafikdesign enthält.&#10;&#10;Automatisch generierte Beschreibung">
            <a:extLst>
              <a:ext uri="{FF2B5EF4-FFF2-40B4-BE49-F238E27FC236}">
                <a16:creationId xmlns:a16="http://schemas.microsoft.com/office/drawing/2014/main" id="{62FF404B-E2C8-5351-7623-1E3A4A05A9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9360" y="4466208"/>
            <a:ext cx="2195736" cy="677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26785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IAAAAAAAAAAwAAAAMAAAAA/////wQAPwwAAAAAAAAAAAAAIAD///////////////8AAAD////////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UvxqsrD9dGr6uUj0RtPb4FAAAAAAADAAAAAwADAAAAAQADAAIA////////BAAAAAMAEAALaVr1BW1CL02/QSPrkB7V7gUAAAABAAMAAAAAAAMAAAAC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aAAZMaW5rZWRTaGFwZXNEYXRhUHJvcGVydHlfMAUAAAAAAAQAAAADAAQAAAABAAQAAAAAAP///////wQAAAAAAP///////w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PUvxqsrD9dGr6uUj0RtPb4DRGF0YQAbAAAABExpbmtlZFNoYXBlRGF0YQAFAAAAAAACTmFtZQAZAAAATGlua2VkU2hhcGVzRGF0YVByb3BlcnR5ABBWZXJzaW9uAAAAAAAJTGFzdFdyaXRlAAYsEnR8AQAAAAEA/////50AnQAAAAVfaWQAEAAAAARpWvUFbUIvTb9BI+uQHtXuA0RhdGEAKgAAAAhQcmVzZW50YXRpb25TY2FubmVkRm9yTGlua2VkU2hhcGVzAAEAAk5hbWUAJAAAAExpbmtlZFNoYXBlUHJlc2VudGF0aW9uU2V0dGluZ3NEYXRhABBWZXJzaW9uAAAAAAAJTGFzdFdyaXRlAGIsEnR8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PRESENTATION_LANGUAGE" val="103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5"/>
  <p:tag name="MIO_SHOW_DATE" val="True"/>
  <p:tag name="MIO_SHOW_FOOTER" val="True"/>
  <p:tag name="MIO_SHOW_PAGENUMBER" val="True"/>
  <p:tag name="MIO_AVOID_BLANK_LAYOUT" val="False"/>
  <p:tag name="MIO_NUMBER_OF_VALID_LAYOUTS" val="20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08"/>
  <p:tag name="MIO_UPDATE" val="True"/>
  <p:tag name="MIO_VERSION" val="30.06.2017 15:02:37"/>
  <p:tag name="MIO_DBID" val="ED9FF2F2-6643-46BA-B685-7D49126FFAFF"/>
  <p:tag name="MIO_LASTDOWNLOADED" val="10.07.2017 14:27:11"/>
  <p:tag name="MIO_OBJECTNAME" val="Corporate, 16x9"/>
  <p:tag name="MIO_LASTEDITORNAME" val="Leon Kirchner_ex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EK" val="19201"/>
  <p:tag name="MIO_FALLBACK_LAYOUT" val="15"/>
  <p:tag name="MIO_SHOW_DATE" val="True"/>
  <p:tag name="MIO_SHOW_FOOTER" val="True"/>
  <p:tag name="MIO_SHOW_PAGENUMBER" val="True"/>
  <p:tag name="MIO_AVOID_BLANK_LAYOUT" val="False"/>
  <p:tag name="MIO_CD_LAYOUT_VALID_AREA" val="False"/>
  <p:tag name="MIO_NUMBER_OF_VALID_LAYOUTS" val="24"/>
  <p:tag name="MIO_HDS" val="True"/>
  <p:tag name="MIO_SKIPVERSION" val="01.01.0001 00:00:00"/>
  <p:tag name="MIO_EKGUID" val="e3e9ceb7-7c78-4334-8bc0-c31cd70564f0"/>
  <p:tag name="MIO_UPDATE" val="True"/>
  <p:tag name="MIO_VERSION" val="05.07.2021 09:16:06"/>
  <p:tag name="MIO_DBID" val="28AD0E67-88F4-4826-B6CB-8EA6DE4EF11B"/>
  <p:tag name="MIO_LASTDOWNLOADED" val="05.11.2021 08:32:07.343"/>
  <p:tag name="MIO_OBJECTNAME" val="Automotive 16x9"/>
  <p:tag name="MIO_CDID" val="d446ddb0-4ccd-4ae3-96db-87dda6130c4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heme/theme1.xml><?xml version="1.0" encoding="utf-8"?>
<a:theme xmlns:a="http://schemas.openxmlformats.org/drawingml/2006/main" name="Continental AG 2021, 16x9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600" b="0" i="0" u="none" baseline="0" dirty="0">
            <a:solidFill>
              <a:srgbClr val="181818"/>
            </a:solidFill>
            <a:latin typeface="Arial" panose="020B0604020202020204" pitchFamily="34" charset="0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2400" b="0" i="0" u="none" baseline="0" dirty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F1D69CB5-4D45-45F0-B20B-8737AC8ED40A}" vid="{E573284F-A76D-4AC0-A0D0-CAEB22281542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52E8FAACFF1048985B64E8808AD51F" ma:contentTypeVersion="13" ma:contentTypeDescription="Create a new document." ma:contentTypeScope="" ma:versionID="5dd81dc1cab558eea7594729f19191bf">
  <xsd:schema xmlns:xsd="http://www.w3.org/2001/XMLSchema" xmlns:xs="http://www.w3.org/2001/XMLSchema" xmlns:p="http://schemas.microsoft.com/office/2006/metadata/properties" xmlns:ns2="5944517c-d900-4226-8230-06c00b9c4b3c" xmlns:ns3="a81c910f-f687-4eee-b4cb-e078488e9c41" targetNamespace="http://schemas.microsoft.com/office/2006/metadata/properties" ma:root="true" ma:fieldsID="b74b31f78b0e3ff8a0f23545bad26cbb" ns2:_="" ns3:_="">
    <xsd:import namespace="5944517c-d900-4226-8230-06c00b9c4b3c"/>
    <xsd:import namespace="a81c910f-f687-4eee-b4cb-e078488e9c4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44517c-d900-4226-8230-06c00b9c4b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1c910f-f687-4eee-b4cb-e078488e9c4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DBD3B08-4418-4551-B15B-32138379E41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796BB6F-0393-4A34-8C36-E65A5B46FF6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944517c-d900-4226-8230-06c00b9c4b3c"/>
    <ds:schemaRef ds:uri="a81c910f-f687-4eee-b4cb-e078488e9c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7B24246-A964-4663-8BE6-669E79A125B6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5944517c-d900-4226-8230-06c00b9c4b3c"/>
    <ds:schemaRef ds:uri="a81c910f-f687-4eee-b4cb-e078488e9c41"/>
    <ds:schemaRef ds:uri="http://www.w3.org/XML/1998/namespace"/>
    <ds:schemaRef ds:uri="http://purl.org/dc/terms/"/>
  </ds:schemaRefs>
</ds:datastoreItem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8</Words>
  <Application>Microsoft Macintosh PowerPoint</Application>
  <PresentationFormat>Bildschirmpräsentation (16:9)</PresentationFormat>
  <Paragraphs>8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libri</vt:lpstr>
      <vt:lpstr>Consolas</vt:lpstr>
      <vt:lpstr>Continental AG 2021, 16x9</vt:lpstr>
      <vt:lpstr>think-cell Folie</vt:lpstr>
      <vt:lpstr>PowerPoint-Präsentation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lke Haertl</dc:creator>
  <cp:lastModifiedBy>Listl, Magdalena03 (uie30010)</cp:lastModifiedBy>
  <cp:revision>8</cp:revision>
  <dcterms:created xsi:type="dcterms:W3CDTF">2018-02-15T15:15:31Z</dcterms:created>
  <dcterms:modified xsi:type="dcterms:W3CDTF">2024-05-22T08:21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52E8FAACFF1048985B64E8808AD51F</vt:lpwstr>
  </property>
  <property fmtid="{D5CDD505-2E9C-101B-9397-08002B2CF9AE}" pid="3" name="ClassificationContentMarkingFooterLocations">
    <vt:lpwstr>Continental AG 2021, 16x9:8</vt:lpwstr>
  </property>
  <property fmtid="{D5CDD505-2E9C-101B-9397-08002B2CF9AE}" pid="4" name="ClassificationContentMarkingFooterText">
    <vt:lpwstr>Internal</vt:lpwstr>
  </property>
</Properties>
</file>